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3"/>
  </p:notesMasterIdLst>
  <p:handoutMasterIdLst>
    <p:handoutMasterId r:id="rId4"/>
  </p:handoutMasterIdLst>
  <p:sldIdLst>
    <p:sldId id="339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94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72063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346275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566087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6500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8409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53627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17071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526645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99509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47229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631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1617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134913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16007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44287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731635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871871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706432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154207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337856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626110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82754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b54d499983cdf841830ad54b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8E1BD847-71C5-4071-9BBC-F0359747DC7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35471881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4" y="1667099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E VANTAGEN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marR="0" lvl="0" indent="-179593" algn="l" defTabSz="862049" rtl="0" eaLnBrk="1" fontAlgn="base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ÇÃO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66100" cy="461665"/>
          </a:xfrm>
        </p:spPr>
        <p:txBody>
          <a:bodyPr/>
          <a:lstStyle/>
          <a:p>
            <a:r>
              <a:rPr lang="pt-BR" sz="3000" dirty="0"/>
              <a:t>Menor indisponibilidade e maior produtividade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50789"/>
            <a:ext cx="7539038" cy="288925"/>
          </a:xfrm>
        </p:spPr>
        <p:txBody>
          <a:bodyPr/>
          <a:lstStyle/>
          <a:p>
            <a:r>
              <a:rPr lang="pt-BR" sz="1800"/>
              <a:t>Novo transportador de acumulação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4" y="5794713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Eficiência, manutençã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</a:t>
            </a:r>
            <a:r>
              <a:rPr kumimoji="0" lang="pt-BR" sz="800" b="0" i="0" u="none" strike="noStrike" cap="none" normalizeH="0" baseline="0" noProof="0" dirty="0" err="1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l</a:t>
            </a: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/</a:t>
            </a:r>
            <a:r>
              <a:rPr kumimoji="0" lang="pt-BR" sz="800" b="0" i="0" u="none" strike="noStrike" cap="none" normalizeH="0" baseline="0" noProof="0" dirty="0" err="1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pal</a:t>
            </a:r>
            <a:endParaRPr kumimoji="0" lang="pt-BR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o catálogo</a:t>
            </a:r>
            <a:r>
              <a:rPr kumimoji="0" lang="pt-BR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EOL022</a:t>
            </a:r>
            <a:endParaRPr kumimoji="0" lang="pt-BR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204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4" y="2073869"/>
            <a:ext cx="4002411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pt-BR" sz="1000" b="1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Manutenção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Corrente de maior resistência substitui o antigo sistema de rolos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Atrito mínimo e menor pressão na acumulação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Manutenção do transportador extremamente reduzida e simplificada. 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As guias de dosagem ficarão soltas para evitar qualquer risco de entrada dessincronizada de pacot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pt-BR" sz="1000" b="1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Flexibilidade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Compatível com produtos com fundo irregular ou petaloide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Ajuste de guias repetível e mais rápido (sistema de roda manual padrão ou automático, como opcional)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pt-BR" sz="1000" b="1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Produtividade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Reduz a frequência de alarme da esteira de dosagem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Maior confiabilidade funcional. Sistema menos sensível à qualidade de pacotes e falsas paradas. Operações silenciosas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O controle de entrada de pacote é agora movido da esteira de dosagem para o transportador de acumulação. Fotocélulas de segurança “turned-pack” instaladas no transportador de acumulação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3D75CD5-235E-4516-A8E5-2141CEBCE51F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7447" y="4297407"/>
            <a:ext cx="2311400" cy="12391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858C580-A195-4604-B7AB-0BDFF46B5944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972" y="2768004"/>
            <a:ext cx="3562350" cy="139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830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1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Menor indisponibilidade e maior produtividad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33</cp:revision>
  <cp:lastPrinted>2017-09-01T14:01:41Z</cp:lastPrinted>
  <dcterms:created xsi:type="dcterms:W3CDTF">2017-07-10T14:51:51Z</dcterms:created>
  <dcterms:modified xsi:type="dcterms:W3CDTF">2019-06-26T13:4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5:47:41.9231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